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028079C5-1C0E-4272-ABF8-714A01158688}">
          <p14:sldIdLst>
            <p14:sldId id="2147475173"/>
            <p14:sldId id="2147475174"/>
            <p14:sldId id="2147475175"/>
            <p14:sldId id="2147475176"/>
            <p14:sldId id="2147475177"/>
            <p14:sldId id="2147475178"/>
          </p14:sldIdLst>
        </p14:section>
        <p14:section name="Brackets By Retailer By Sector" id="{BD90F3E3-A5B9-4BF3-99E7-0D45EFE1BB2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8584647-A5F1-4B2D-BE61-485815C1A46F}">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62418341201551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0.264302475419635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19490077683078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602781843983431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960830729772854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36145158306897884</c:v>
                </c:pt>
                <c:pt idx="5">
                  <c:v>0.6335990502159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0855829499012922E-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317868255373474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581047769360209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90875868009677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74266259492371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36145158306897884</c:v>
                </c:pt>
                <c:pt idx="5">
                  <c:v>0.6335990502159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09156697110208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2881405862937035E-4</c:v>
                </c:pt>
                <c:pt idx="5">
                  <c:v>1.6076704863833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423997467493267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470216507164815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0855829499012922E-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3.1597009283891027E-3</c:v>
                </c:pt>
                <c:pt idx="4">
                  <c:v>0.22252527356135005</c:v>
                </c:pt>
                <c:pt idx="5">
                  <c:v>0.774314631342371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479643448858368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59088787887163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023279279617345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990516303180486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3.1597009283891027E-3</c:v>
                </c:pt>
                <c:pt idx="4">
                  <c:v>0.22252527356135005</c:v>
                </c:pt>
                <c:pt idx="5">
                  <c:v>0.774314631342371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3.223592975493144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863285683688994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4.03720563311543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921992761517963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4.199824973697449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569493270692720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3.1597009283891027E-3</c:v>
                </c:pt>
                <c:pt idx="4">
                  <c:v>0.22252527356135005</c:v>
                </c:pt>
                <c:pt idx="5">
                  <c:v>0.774314631342371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83474773381567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025356715330620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222062701202860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739469194988532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7.3340075682900804E-4</c:v>
                </c:pt>
                <c:pt idx="5">
                  <c:v>8.643750143114342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3558621545661643E-3</c:v>
                </c:pt>
                <c:pt idx="5">
                  <c:v>9.383235089894680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2662711277150168E-3</c:v>
                </c:pt>
                <c:pt idx="5">
                  <c:v>0.110858734474123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84507688602568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189711187394342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06187522339349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0.201638219349699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91689241272227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740485821371707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14545441061343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449038873190364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36145158306897884</c:v>
                </c:pt>
                <c:pt idx="5">
                  <c:v>0.633599050215982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0855829499012922E-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717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624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1448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132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90703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18083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2333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0869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8356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4063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0920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986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779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1251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96433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70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43505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630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103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793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92896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906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73429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82223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8378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7045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33682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31754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876302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420993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6186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7993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8286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40262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61220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1731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87632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5112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237868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00867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929083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8162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161523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60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30994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750297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1710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5358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131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93965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8156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48267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721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13077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734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8943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123994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14855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34274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33971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79621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29306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73376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1969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0224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9820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529</Words>
  <Application>Microsoft Office PowerPoint</Application>
  <PresentationFormat>On-screen Show (16:9)</PresentationFormat>
  <Paragraphs>1240</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3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